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5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0.xml" ContentType="application/vnd.openxmlformats-officedocument.presentationml.slide+xml"/>
  <Override PartName="/ppt/slides/slide14.xml" ContentType="application/vnd.openxmlformats-officedocument.presentationml.slide+xml"/>
  <Override PartName="/ppt/slides/slide6.xml" ContentType="application/vnd.openxmlformats-officedocument.presentationml.slide+xml"/>
  <Override PartName="/ppt/slides/slide15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7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295" r:id="rId3"/>
    <p:sldId id="306" r:id="rId4"/>
    <p:sldId id="307" r:id="rId5"/>
    <p:sldId id="308" r:id="rId6"/>
    <p:sldId id="297" r:id="rId7"/>
    <p:sldId id="298" r:id="rId8"/>
    <p:sldId id="273" r:id="rId9"/>
    <p:sldId id="274" r:id="rId10"/>
    <p:sldId id="275" r:id="rId11"/>
    <p:sldId id="282" r:id="rId12"/>
    <p:sldId id="283" r:id="rId13"/>
    <p:sldId id="284" r:id="rId14"/>
    <p:sldId id="285" r:id="rId15"/>
    <p:sldId id="286" r:id="rId16"/>
    <p:sldId id="287" r:id="rId17"/>
    <p:sldId id="288" r:id="rId18"/>
    <p:sldId id="289" r:id="rId19"/>
    <p:sldId id="290" r:id="rId20"/>
    <p:sldId id="293" r:id="rId21"/>
    <p:sldId id="292" r:id="rId22"/>
    <p:sldId id="301" r:id="rId2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89" d="100"/>
          <a:sy n="89" d="100"/>
        </p:scale>
        <p:origin x="46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C822FDAF-FDFA-4D91-B7D5-B70BF0C2E9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5DF751A-81DC-4979-B134-0B9637883D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43168-3989-412F-9E82-24F6289D3BAA}" type="datetimeFigureOut">
              <a:rPr lang="en-IN" smtClean="0"/>
              <a:t>13-03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14DB070-D618-4990-82A6-38791719CE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C6DBBF4-D3BF-4DBC-BAFC-74C874CF68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571A9E-F191-4484-BA21-68438700B3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8997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4BB93-324B-448F-83DE-379D3A550245}" type="datetimeFigureOut">
              <a:rPr lang="en-US" smtClean="0"/>
              <a:t>3/1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F01D5-93D0-4CAB-8178-D27CE2280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97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083637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77562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31318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86662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4260" y="1192192"/>
            <a:ext cx="5718424" cy="2804929"/>
          </a:xfrm>
        </p:spPr>
        <p:txBody>
          <a:bodyPr anchor="b">
            <a:noAutofit/>
          </a:bodyPr>
          <a:lstStyle>
            <a:lvl1pPr algn="l">
              <a:defRPr sz="66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4259" y="4066720"/>
            <a:ext cx="7596451" cy="1086237"/>
          </a:xfrm>
        </p:spPr>
        <p:txBody>
          <a:bodyPr>
            <a:normAutofit/>
          </a:bodyPr>
          <a:lstStyle>
            <a:lvl1pPr marL="0" indent="0" algn="l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3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874" y="79334"/>
            <a:ext cx="4620101" cy="601480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58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23365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680" y="1828800"/>
            <a:ext cx="24384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28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3463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1828800"/>
            <a:ext cx="3048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445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with Shapes - Layout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50C01FB-E2BF-4470-A153-6F7BF3CCF3F9}"/>
              </a:ext>
            </a:extLst>
          </p:cNvPr>
          <p:cNvSpPr/>
          <p:nvPr userDrawn="1"/>
        </p:nvSpPr>
        <p:spPr>
          <a:xfrm>
            <a:off x="0" y="6248400"/>
            <a:ext cx="12192000" cy="60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/>
            <a:endParaRPr lang="pt-PT" sz="1900">
              <a:solidFill>
                <a:prstClr val="white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CBFCF213-9AB8-422B-8F8D-9F6A01ED15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3305" b="8553"/>
          <a:stretch>
            <a:fillRect/>
          </a:stretch>
        </p:blipFill>
        <p:spPr>
          <a:xfrm rot="19314106">
            <a:off x="10091405" y="-166653"/>
            <a:ext cx="3522628" cy="5177025"/>
          </a:xfrm>
          <a:custGeom>
            <a:avLst/>
            <a:gdLst>
              <a:gd name="connsiteX0" fmla="*/ 3522628 w 3522628"/>
              <a:gd name="connsiteY0" fmla="*/ 891962 h 5177025"/>
              <a:gd name="connsiteX1" fmla="*/ 162923 w 3522628"/>
              <a:gd name="connsiteY1" fmla="*/ 5177025 h 5177025"/>
              <a:gd name="connsiteX2" fmla="*/ 0 w 3522628"/>
              <a:gd name="connsiteY2" fmla="*/ 5049285 h 5177025"/>
              <a:gd name="connsiteX3" fmla="*/ 0 w 3522628"/>
              <a:gd name="connsiteY3" fmla="*/ 1923687 h 5177025"/>
              <a:gd name="connsiteX4" fmla="*/ 1508267 w 3522628"/>
              <a:gd name="connsiteY4" fmla="*/ 0 h 5177025"/>
              <a:gd name="connsiteX5" fmla="*/ 2384994 w 3522628"/>
              <a:gd name="connsiteY5" fmla="*/ 0 h 517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2628" h="5177025">
                <a:moveTo>
                  <a:pt x="3522628" y="891962"/>
                </a:moveTo>
                <a:lnTo>
                  <a:pt x="162923" y="5177025"/>
                </a:lnTo>
                <a:lnTo>
                  <a:pt x="0" y="5049285"/>
                </a:lnTo>
                <a:lnTo>
                  <a:pt x="0" y="1923687"/>
                </a:lnTo>
                <a:lnTo>
                  <a:pt x="1508267" y="0"/>
                </a:lnTo>
                <a:lnTo>
                  <a:pt x="2384994" y="0"/>
                </a:lnTo>
                <a:close/>
              </a:path>
            </a:pathLst>
          </a:cu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sz="3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57756"/>
            <a:fld id="{0502E5A9-B53C-401E-A0E0-4A359BB0A9E5}" type="slidenum">
              <a:rPr lang="en-US" sz="8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 defTabSz="957756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07988" y="1447800"/>
            <a:ext cx="10183812" cy="434340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lnSpc>
                <a:spcPct val="150000"/>
              </a:lnSpc>
              <a:defRPr sz="20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600"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800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844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740877"/>
            <a:ext cx="9601200" cy="41265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3077" b="19676"/>
          <a:stretch/>
        </p:blipFill>
        <p:spPr>
          <a:xfrm rot="5400000" flipH="1">
            <a:off x="-79029" y="79030"/>
            <a:ext cx="6857997" cy="66999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3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rgbClr val="FF304C"/>
          </a:solidFill>
          <a:ln w="0">
            <a:noFill/>
            <a:prstDash val="solid"/>
            <a:round/>
            <a:headEnd/>
            <a:tailEnd/>
          </a:ln>
        </p:spPr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1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13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1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1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3/1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>
            <a:normAutofit/>
          </a:bodyPr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3/1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A76958A6-8FB1-445D-BB17-D619DC39E089}"/>
              </a:ext>
            </a:extLst>
          </p:cNvPr>
          <p:cNvGrpSpPr/>
          <p:nvPr userDrawn="1"/>
        </p:nvGrpSpPr>
        <p:grpSpPr>
          <a:xfrm>
            <a:off x="4328932" y="0"/>
            <a:ext cx="7863068" cy="6858000"/>
            <a:chOff x="3461852" y="0"/>
            <a:chExt cx="8730148" cy="6858000"/>
          </a:xfrm>
        </p:grpSpPr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xmlns="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xmlns="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3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88A1A95F-E6B1-4D64-9EE3-62F86C38769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143524" y="5780459"/>
            <a:ext cx="886097" cy="938841"/>
          </a:xfrm>
          <a:prstGeom prst="rect">
            <a:avLst/>
          </a:prstGeom>
        </p:spPr>
      </p:pic>
      <p:grpSp>
        <p:nvGrpSpPr>
          <p:cNvPr id="12" name="Group 14"/>
          <p:cNvGrpSpPr>
            <a:grpSpLocks noChangeAspect="1"/>
          </p:cNvGrpSpPr>
          <p:nvPr userDrawn="1"/>
        </p:nvGrpSpPr>
        <p:grpSpPr>
          <a:xfrm>
            <a:off x="9769232" y="214877"/>
            <a:ext cx="2112264" cy="470923"/>
            <a:chOff x="728663" y="4465638"/>
            <a:chExt cx="5354637" cy="1193801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4" r:id="rId15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94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doc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ngular.io/tutorial" TargetMode="External"/><Relationship Id="rId4" Type="http://schemas.openxmlformats.org/officeDocument/2006/relationships/hyperlink" Target="https://angular.io/guide/quickstart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4C18349-BE40-45B0-B85F-362D04219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259" y="1192192"/>
            <a:ext cx="7026363" cy="2804929"/>
          </a:xfrm>
        </p:spPr>
        <p:txBody>
          <a:bodyPr/>
          <a:lstStyle/>
          <a:p>
            <a:r>
              <a:rPr lang="en-IN" dirty="0"/>
              <a:t>      Angular 6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0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72207360-794A-4E0D-A171-1118974E6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284259" y="2693595"/>
            <a:ext cx="1230294" cy="130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0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Introduction to Angular Frame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Introduction to Angular Framework, History &amp; Overview</a:t>
            </a:r>
          </a:p>
          <a:p>
            <a:pPr lvl="0"/>
            <a:r>
              <a:rPr lang="en-IN"/>
              <a:t>Environment Setup</a:t>
            </a:r>
          </a:p>
          <a:p>
            <a:pPr lvl="0"/>
            <a:r>
              <a:rPr lang="en-IN"/>
              <a:t>Angular CLI, Installing Angular CLI</a:t>
            </a:r>
          </a:p>
          <a:p>
            <a:pPr lvl="0"/>
            <a:r>
              <a:rPr lang="en-IN"/>
              <a:t>NPM commands &amp; package.json</a:t>
            </a:r>
          </a:p>
          <a:p>
            <a:pPr lvl="0"/>
            <a:r>
              <a:rPr lang="en-IN"/>
              <a:t>Bootstrapping Angular App, Components, AppModu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Project Setup, Editor Environments </a:t>
            </a:r>
          </a:p>
          <a:p>
            <a:pPr lvl="0"/>
            <a:r>
              <a:rPr lang="en-IN"/>
              <a:t>First Angular App &amp; Directory Structure</a:t>
            </a:r>
            <a:endParaRPr lang="en-US"/>
          </a:p>
          <a:p>
            <a:pPr lvl="0"/>
            <a:r>
              <a:rPr lang="en-IN"/>
              <a:t>Angular Fundamentals, Building Blocks</a:t>
            </a:r>
          </a:p>
          <a:p>
            <a:pPr lvl="0"/>
            <a:r>
              <a:rPr lang="en-IN"/>
              <a:t>Meta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36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43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Essentials of Angula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Component Basics</a:t>
            </a:r>
          </a:p>
          <a:p>
            <a:pPr lvl="0"/>
            <a:r>
              <a:rPr lang="en-IN"/>
              <a:t>Setting up the templates</a:t>
            </a:r>
          </a:p>
          <a:p>
            <a:pPr lvl="0"/>
            <a:r>
              <a:rPr lang="en-IN"/>
              <a:t>Creating Components using CLI</a:t>
            </a:r>
          </a:p>
          <a:p>
            <a:pPr lvl="0"/>
            <a:r>
              <a:rPr lang="en-IN"/>
              <a:t>Nesting Components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Data Binding - Property &amp; Event Binding, String Interpolation, Style binding</a:t>
            </a:r>
            <a:endParaRPr lang="en-US"/>
          </a:p>
          <a:p>
            <a:pPr lvl="0"/>
            <a:r>
              <a:rPr lang="en-IN"/>
              <a:t>Two-way data binding</a:t>
            </a:r>
            <a:endParaRPr lang="en-US"/>
          </a:p>
          <a:p>
            <a:pPr lvl="0"/>
            <a:r>
              <a:rPr lang="en-IN"/>
              <a:t>Input Properties, Output Properties, Passing Event Data</a:t>
            </a:r>
            <a:endParaRPr lang="en-US"/>
          </a:p>
          <a:p>
            <a:pPr lvl="0"/>
            <a:r>
              <a:rPr lang="en-US"/>
              <a:t>Case Study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07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Templates, Styles &amp; Dir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Template, Styles, View Encapsulation, adding bootstrap to angular app</a:t>
            </a:r>
          </a:p>
          <a:p>
            <a:pPr lvl="0"/>
            <a:r>
              <a:rPr lang="en-IN"/>
              <a:t>Built-in Directives</a:t>
            </a:r>
          </a:p>
          <a:p>
            <a:pPr lvl="0"/>
            <a:r>
              <a:rPr lang="en-IN"/>
              <a:t>Creating Attribute Directive</a:t>
            </a:r>
          </a:p>
          <a:p>
            <a:pPr lvl="0"/>
            <a:r>
              <a:rPr lang="en-IN"/>
              <a:t>Using Renderer to build attribute directiv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Host Listener to listen to Host Events</a:t>
            </a:r>
          </a:p>
          <a:p>
            <a:pPr lvl="0"/>
            <a:r>
              <a:rPr lang="en-IN"/>
              <a:t>Using Host Binding to bind to Host Properties</a:t>
            </a:r>
          </a:p>
          <a:p>
            <a:pPr lvl="0"/>
            <a:r>
              <a:rPr lang="en-IN"/>
              <a:t>Building Structural Directi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04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63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Pipes, Services &amp; Dependency In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Parametrized Pipes </a:t>
            </a:r>
            <a:endParaRPr lang="en-US"/>
          </a:p>
          <a:p>
            <a:pPr lvl="0"/>
            <a:r>
              <a:rPr lang="en-IN"/>
              <a:t>Chaining Multiple Pipes </a:t>
            </a:r>
            <a:endParaRPr lang="en-US"/>
          </a:p>
          <a:p>
            <a:pPr lvl="0"/>
            <a:r>
              <a:rPr lang="en-IN"/>
              <a:t>Creating a Custom Pipe</a:t>
            </a:r>
          </a:p>
          <a:p>
            <a:pPr lvl="0"/>
            <a:r>
              <a:rPr lang="en-IN"/>
              <a:t>Creating a Filter Pipe</a:t>
            </a:r>
            <a:endParaRPr lang="en-US"/>
          </a:p>
          <a:p>
            <a:pPr lvl="0"/>
            <a:r>
              <a:rPr lang="en-IN"/>
              <a:t>Pure and Impure Pipes (or: How to "fix" the Filter Pipe)</a:t>
            </a:r>
            <a:endParaRPr lang="en-US"/>
          </a:p>
          <a:p>
            <a:pPr lvl="0"/>
            <a:r>
              <a:rPr lang="en-IN"/>
              <a:t>Understanding the "async" Pip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US" dirty="0"/>
              <a:t>Services </a:t>
            </a:r>
          </a:p>
          <a:p>
            <a:pPr lvl="0"/>
            <a:r>
              <a:rPr lang="en-US" dirty="0"/>
              <a:t>Dependency Injections</a:t>
            </a:r>
          </a:p>
          <a:p>
            <a:pPr lvl="0"/>
            <a:r>
              <a:rPr lang="en-IN" dirty="0"/>
              <a:t>Creating Data Service</a:t>
            </a:r>
            <a:endParaRPr lang="en-US" dirty="0"/>
          </a:p>
          <a:p>
            <a:pPr lvl="0"/>
            <a:r>
              <a:rPr lang="en-IN" dirty="0"/>
              <a:t>Understanding Hierarchical Injector</a:t>
            </a:r>
            <a:endParaRPr lang="en-US" dirty="0"/>
          </a:p>
          <a:p>
            <a:pPr lvl="0"/>
            <a:r>
              <a:rPr lang="en-IN" dirty="0"/>
              <a:t>Services for Cross Component Communication </a:t>
            </a:r>
            <a:endParaRPr lang="en-US" dirty="0"/>
          </a:p>
          <a:p>
            <a:pPr lvl="0"/>
            <a:r>
              <a:rPr lang="en-IN" dirty="0"/>
              <a:t>Injection Tokens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75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Template-Driven and Reactive For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 dirty="0"/>
              <a:t>Template-Driven vs Reactive Approach</a:t>
            </a:r>
            <a:endParaRPr lang="en-US" dirty="0"/>
          </a:p>
          <a:p>
            <a:pPr lvl="0"/>
            <a:r>
              <a:rPr lang="en-IN" dirty="0"/>
              <a:t>Understanding Form State</a:t>
            </a:r>
            <a:endParaRPr lang="en-US" dirty="0"/>
          </a:p>
          <a:p>
            <a:pPr lvl="0"/>
            <a:r>
              <a:rPr lang="en-IN" dirty="0"/>
              <a:t>Built-in Validators &amp; Using HTML5 Validation</a:t>
            </a:r>
          </a:p>
          <a:p>
            <a:pPr lvl="0"/>
            <a:r>
              <a:rPr lang="en-IN" dirty="0"/>
              <a:t>Grouping Form Controls</a:t>
            </a:r>
          </a:p>
          <a:p>
            <a:pPr lvl="0"/>
            <a:r>
              <a:rPr lang="en-IN" dirty="0" err="1"/>
              <a:t>FormGroup</a:t>
            </a:r>
            <a:r>
              <a:rPr lang="en-IN" dirty="0"/>
              <a:t>, </a:t>
            </a:r>
            <a:r>
              <a:rPr lang="en-IN" dirty="0" err="1"/>
              <a:t>FormControl</a:t>
            </a:r>
            <a:r>
              <a:rPr lang="en-IN" dirty="0"/>
              <a:t>, </a:t>
            </a:r>
            <a:r>
              <a:rPr lang="en-IN" dirty="0" err="1"/>
              <a:t>FormBuilder</a:t>
            </a:r>
            <a:r>
              <a:rPr lang="en-IN" dirty="0"/>
              <a:t>, </a:t>
            </a:r>
            <a:r>
              <a:rPr lang="en-IN" dirty="0" err="1"/>
              <a:t>FormArra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 dirty="0"/>
              <a:t>Forms with Reactive Approach</a:t>
            </a:r>
            <a:endParaRPr lang="en-US" dirty="0"/>
          </a:p>
          <a:p>
            <a:pPr lvl="0"/>
            <a:r>
              <a:rPr lang="en-US" dirty="0"/>
              <a:t>Predefined Validators &amp; Custom Validators</a:t>
            </a:r>
          </a:p>
          <a:p>
            <a:pPr lvl="0"/>
            <a:r>
              <a:rPr lang="en-IN" dirty="0"/>
              <a:t>Async Validators</a:t>
            </a:r>
            <a:endParaRPr lang="en-US" dirty="0"/>
          </a:p>
          <a:p>
            <a:pPr lvl="0"/>
            <a:r>
              <a:rPr lang="en-IN" dirty="0"/>
              <a:t>Showing validation erro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2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3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Components Deep Dive / Rou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IN" dirty="0"/>
              <a:t>Component Life Cycle Hooks</a:t>
            </a:r>
          </a:p>
          <a:p>
            <a:pPr lvl="0"/>
            <a:r>
              <a:rPr lang="en-IN" dirty="0"/>
              <a:t>Reusable components in angular using &lt;ng-content&gt;</a:t>
            </a:r>
            <a:endParaRPr lang="en-US" dirty="0"/>
          </a:p>
          <a:p>
            <a:pPr lvl="0"/>
            <a:r>
              <a:rPr lang="en-IN" dirty="0"/>
              <a:t>ng-content and @</a:t>
            </a:r>
            <a:r>
              <a:rPr lang="en-IN" dirty="0" err="1"/>
              <a:t>ContentChild</a:t>
            </a:r>
            <a:endParaRPr lang="en-IN" dirty="0"/>
          </a:p>
          <a:p>
            <a:pPr lvl="0"/>
            <a:r>
              <a:rPr lang="en-IN" dirty="0"/>
              <a:t>Inter-component communication (using Input, Output and Services)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IN" dirty="0"/>
              <a:t>Navigating with Router links</a:t>
            </a:r>
            <a:endParaRPr lang="en-US" dirty="0"/>
          </a:p>
          <a:p>
            <a:pPr lvl="0"/>
            <a:r>
              <a:rPr lang="en-IN" dirty="0"/>
              <a:t>Understanding Navigation Paths</a:t>
            </a:r>
            <a:endParaRPr lang="en-US" dirty="0"/>
          </a:p>
          <a:p>
            <a:pPr lvl="0"/>
            <a:r>
              <a:rPr lang="en-IN" dirty="0"/>
              <a:t>Navigating Programmatically</a:t>
            </a:r>
            <a:endParaRPr lang="en-US" dirty="0"/>
          </a:p>
          <a:p>
            <a:pPr lvl="0"/>
            <a:r>
              <a:rPr lang="en-IN" dirty="0"/>
              <a:t>Passing Parameters to Routes</a:t>
            </a:r>
            <a:endParaRPr lang="en-US" dirty="0"/>
          </a:p>
          <a:p>
            <a:pPr lvl="0"/>
            <a:r>
              <a:rPr lang="en-IN" dirty="0"/>
              <a:t>Passing Query Parameters and Fragments</a:t>
            </a:r>
          </a:p>
          <a:p>
            <a:pPr lvl="0"/>
            <a:r>
              <a:rPr lang="en-IN" dirty="0"/>
              <a:t>Setting up Child (Nested) Routes</a:t>
            </a:r>
          </a:p>
          <a:p>
            <a:pPr lvl="0"/>
            <a:r>
              <a:rPr lang="en-IN" dirty="0"/>
              <a:t>Passing static data on routes</a:t>
            </a:r>
            <a:endParaRPr lang="en-US" dirty="0"/>
          </a:p>
          <a:p>
            <a:pPr lvl="0"/>
            <a:r>
              <a:rPr lang="en-IN" dirty="0"/>
              <a:t>Map() operator and </a:t>
            </a:r>
            <a:r>
              <a:rPr lang="en-IN" dirty="0" err="1"/>
              <a:t>switchMap</a:t>
            </a:r>
            <a:r>
              <a:rPr lang="en-IN" dirty="0"/>
              <a:t>() operator</a:t>
            </a:r>
            <a:endParaRPr lang="en-US" dirty="0"/>
          </a:p>
          <a:p>
            <a:pPr lvl="0"/>
            <a:r>
              <a:rPr lang="en-IN" dirty="0"/>
              <a:t>Redirecting and wildcard routes</a:t>
            </a:r>
            <a:endParaRPr lang="en-US" dirty="0"/>
          </a:p>
          <a:p>
            <a:pPr lvl="0"/>
            <a:r>
              <a:rPr lang="en-IN" dirty="0"/>
              <a:t>Outsourcing Route Configuration (create custom modu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76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Http Requests / Observab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IN" dirty="0"/>
              <a:t>HTTP Requests </a:t>
            </a:r>
          </a:p>
          <a:p>
            <a:pPr lvl="0"/>
            <a:r>
              <a:rPr lang="en-IN" dirty="0"/>
              <a:t>Sending GET Requests</a:t>
            </a:r>
            <a:endParaRPr lang="en-US" dirty="0"/>
          </a:p>
          <a:p>
            <a:pPr lvl="0"/>
            <a:r>
              <a:rPr lang="en-IN" dirty="0"/>
              <a:t>Sending a PUT Request</a:t>
            </a:r>
          </a:p>
          <a:p>
            <a:pPr lvl="0"/>
            <a:r>
              <a:rPr lang="en-IN" dirty="0"/>
              <a:t>Transform Responses with Observable Operators (map())</a:t>
            </a:r>
            <a:endParaRPr lang="en-US" dirty="0"/>
          </a:p>
          <a:p>
            <a:pPr lvl="0"/>
            <a:r>
              <a:rPr lang="en-IN" dirty="0"/>
              <a:t>Using the Returned Data</a:t>
            </a:r>
            <a:endParaRPr lang="en-US" dirty="0"/>
          </a:p>
          <a:p>
            <a:pPr lvl="0"/>
            <a:r>
              <a:rPr lang="en-IN" dirty="0"/>
              <a:t>Catching Http Errors</a:t>
            </a:r>
          </a:p>
          <a:p>
            <a:pPr lvl="0"/>
            <a:r>
              <a:rPr lang="en-IN" dirty="0"/>
              <a:t>Pipe(), map(), </a:t>
            </a:r>
            <a:r>
              <a:rPr lang="en-IN" dirty="0" err="1"/>
              <a:t>catchError</a:t>
            </a:r>
            <a:r>
              <a:rPr lang="en-IN" dirty="0"/>
              <a:t>()</a:t>
            </a:r>
          </a:p>
          <a:p>
            <a:pPr lvl="0"/>
            <a:r>
              <a:rPr lang="en-IN" dirty="0"/>
              <a:t>Interceptors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IN" dirty="0"/>
              <a:t>Basics of Observables &amp; Promises</a:t>
            </a:r>
            <a:endParaRPr lang="en-US" dirty="0"/>
          </a:p>
          <a:p>
            <a:pPr lvl="0"/>
            <a:r>
              <a:rPr lang="en-IN" dirty="0"/>
              <a:t>Analysing a Built-in Angular Observable </a:t>
            </a:r>
            <a:endParaRPr lang="en-US" dirty="0"/>
          </a:p>
          <a:p>
            <a:pPr lvl="0"/>
            <a:r>
              <a:rPr lang="en-IN" dirty="0"/>
              <a:t>Building &amp; Using a Custom Observable </a:t>
            </a:r>
            <a:endParaRPr lang="en-US" dirty="0"/>
          </a:p>
          <a:p>
            <a:pPr lvl="0"/>
            <a:r>
              <a:rPr lang="en-IN" dirty="0"/>
              <a:t>Understanding Observable Operators</a:t>
            </a:r>
          </a:p>
          <a:p>
            <a:pPr lvl="0"/>
            <a:r>
              <a:rPr lang="en-US" dirty="0"/>
              <a:t>Using Subjects to pass and listen to data</a:t>
            </a:r>
          </a:p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11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ocument History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18872592"/>
              </p:ext>
            </p:extLst>
          </p:nvPr>
        </p:nvGraphicFramePr>
        <p:xfrm>
          <a:off x="1371600" y="1741488"/>
          <a:ext cx="96012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02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/05/2018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gular 5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/01/2019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Angular 6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Vishal Shah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109204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5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73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Deployment / Authent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 dirty="0"/>
              <a:t>Deployment Preparations</a:t>
            </a:r>
            <a:endParaRPr lang="en-US" dirty="0"/>
          </a:p>
          <a:p>
            <a:pPr lvl="0"/>
            <a:r>
              <a:rPr lang="en-IN" dirty="0"/>
              <a:t>JIT vs AOT Compilation</a:t>
            </a:r>
            <a:endParaRPr lang="en-US" dirty="0"/>
          </a:p>
          <a:p>
            <a:pPr lvl="0"/>
            <a:r>
              <a:rPr lang="en-IN" dirty="0"/>
              <a:t>Setup development env and backend env</a:t>
            </a:r>
          </a:p>
          <a:p>
            <a:pPr lvl="0"/>
            <a:r>
              <a:rPr lang="en-IN" dirty="0"/>
              <a:t>Environments configuration</a:t>
            </a:r>
            <a:endParaRPr lang="en-US" dirty="0"/>
          </a:p>
          <a:p>
            <a:pPr lvl="0"/>
            <a:r>
              <a:rPr lang="en-IN" dirty="0"/>
              <a:t>Linting</a:t>
            </a:r>
            <a:endParaRPr lang="en-US" dirty="0"/>
          </a:p>
          <a:p>
            <a:pPr lvl="0"/>
            <a:r>
              <a:rPr lang="en-IN" dirty="0"/>
              <a:t>Deployment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 dirty="0"/>
              <a:t>How Authentication works in SPA</a:t>
            </a:r>
            <a:endParaRPr lang="en-US" dirty="0"/>
          </a:p>
          <a:p>
            <a:pPr lvl="0"/>
            <a:r>
              <a:rPr lang="en-IN" dirty="0"/>
              <a:t>JSON Web Tokens</a:t>
            </a:r>
            <a:endParaRPr lang="en-US" dirty="0"/>
          </a:p>
          <a:p>
            <a:pPr lvl="0"/>
            <a:r>
              <a:rPr lang="en-IN" dirty="0"/>
              <a:t>Signup, Login and logout application</a:t>
            </a:r>
            <a:endParaRPr lang="en-US" dirty="0"/>
          </a:p>
          <a:p>
            <a:pPr lvl="0"/>
            <a:r>
              <a:rPr lang="en-IN" dirty="0"/>
              <a:t>Router Protection, Route Guards</a:t>
            </a:r>
            <a:endParaRPr lang="en-US" dirty="0"/>
          </a:p>
          <a:p>
            <a:pPr lvl="0"/>
            <a:r>
              <a:rPr lang="en-IN" dirty="0" err="1"/>
              <a:t>CanActivate</a:t>
            </a:r>
            <a:r>
              <a:rPr lang="en-IN" dirty="0"/>
              <a:t> interface</a:t>
            </a:r>
          </a:p>
          <a:p>
            <a:pPr lvl="0"/>
            <a:r>
              <a:rPr lang="en-US" dirty="0"/>
              <a:t>Checking and using Authentication Status</a:t>
            </a:r>
          </a:p>
        </p:txBody>
      </p:sp>
    </p:spTree>
    <p:extLst>
      <p:ext uri="{BB962C8B-B14F-4D97-AF65-F5344CB8AC3E}">
        <p14:creationId xmlns:p14="http://schemas.microsoft.com/office/powerpoint/2010/main" val="199431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ngular.io/docs</a:t>
            </a:r>
            <a:r>
              <a:rPr lang="en-US" dirty="0"/>
              <a:t> </a:t>
            </a:r>
          </a:p>
          <a:p>
            <a:r>
              <a:rPr lang="en-US" dirty="0">
                <a:hlinkClick r:id="rId4"/>
              </a:rPr>
              <a:t>https://angular.io/guide/quickstart</a:t>
            </a:r>
            <a:r>
              <a:rPr lang="en-US" dirty="0"/>
              <a:t> </a:t>
            </a:r>
          </a:p>
          <a:p>
            <a:r>
              <a:rPr lang="en-US" dirty="0">
                <a:hlinkClick r:id="rId5"/>
              </a:rPr>
              <a:t>https://angular.io/tutorial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2356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Framework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Angular is a framework for building client side web applications in HTML, CSS and JavaScript / Typescript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Angular is written in Typescript. It implements core and optional functionality as a set of Typescript libraries that you import into your apps.</a:t>
            </a:r>
          </a:p>
          <a:p>
            <a:r>
              <a:rPr lang="en-US" sz="2400" dirty="0"/>
              <a:t>Sponsored and maintained by Google.</a:t>
            </a:r>
          </a:p>
          <a:p>
            <a:r>
              <a:rPr lang="en-US" sz="2400" dirty="0"/>
              <a:t>Angular applications are built around a design pattern called </a:t>
            </a:r>
            <a:r>
              <a:rPr lang="en-US" sz="2400" i="1" dirty="0"/>
              <a:t>Model-View-Controller </a:t>
            </a:r>
            <a:r>
              <a:rPr lang="en-US" sz="2400" dirty="0"/>
              <a:t>(MVC)</a:t>
            </a:r>
          </a:p>
        </p:txBody>
      </p:sp>
    </p:spTree>
    <p:extLst>
      <p:ext uri="{BB962C8B-B14F-4D97-AF65-F5344CB8AC3E}">
        <p14:creationId xmlns:p14="http://schemas.microsoft.com/office/powerpoint/2010/main" val="229534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ngular?..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Angular combines declarative templates, dependency injection, end to end tooling, and integrated best practices to solve development challenges</a:t>
            </a:r>
          </a:p>
          <a:p>
            <a:pPr>
              <a:lnSpc>
                <a:spcPct val="150000"/>
              </a:lnSpc>
            </a:pPr>
            <a:r>
              <a:rPr lang="en-US" dirty="0"/>
              <a:t>Cross Platform</a:t>
            </a:r>
          </a:p>
          <a:p>
            <a:pPr>
              <a:lnSpc>
                <a:spcPct val="150000"/>
              </a:lnSpc>
            </a:pPr>
            <a:r>
              <a:rPr lang="en-US" dirty="0"/>
              <a:t>Speed and Performance</a:t>
            </a:r>
          </a:p>
          <a:p>
            <a:pPr>
              <a:lnSpc>
                <a:spcPct val="150000"/>
              </a:lnSpc>
            </a:pPr>
            <a:r>
              <a:rPr lang="en-US" dirty="0"/>
              <a:t>Productivity</a:t>
            </a:r>
          </a:p>
          <a:p>
            <a:pPr>
              <a:lnSpc>
                <a:spcPct val="150000"/>
              </a:lnSpc>
            </a:pPr>
            <a:r>
              <a:rPr lang="en-US" dirty="0"/>
              <a:t>Full Development Story</a:t>
            </a:r>
          </a:p>
        </p:txBody>
      </p:sp>
    </p:spTree>
    <p:extLst>
      <p:ext uri="{BB962C8B-B14F-4D97-AF65-F5344CB8AC3E}">
        <p14:creationId xmlns:p14="http://schemas.microsoft.com/office/powerpoint/2010/main" val="191963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you will learn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Develop modern, complex, responsive and scalable web applications with Angular </a:t>
            </a:r>
          </a:p>
          <a:p>
            <a:r>
              <a:rPr lang="en-US"/>
              <a:t>Use the gained, deep understanding of the Angular fundamentals to quickly establish as frontend developers</a:t>
            </a:r>
          </a:p>
          <a:p>
            <a:r>
              <a:rPr lang="en-US"/>
              <a:t>Fully understand the architecture behind an Angular application and how to use it</a:t>
            </a:r>
          </a:p>
          <a:p>
            <a:r>
              <a:rPr lang="en-US"/>
              <a:t>Create single-page applications with on of the most modern JavaScript frameworks out there</a:t>
            </a:r>
          </a:p>
          <a:p>
            <a:r>
              <a:rPr lang="en-US"/>
              <a:t>Troubleshoot common Angular errors &amp; Master the best practices</a:t>
            </a:r>
          </a:p>
          <a:p>
            <a:r>
              <a:rPr lang="en-US"/>
              <a:t>Design and Implement Application Authentication and Authorization from scrat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3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-requisi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TML5 fundamentals</a:t>
            </a:r>
          </a:p>
          <a:p>
            <a:r>
              <a:rPr lang="en-US" dirty="0"/>
              <a:t>CSS3 fundamentals</a:t>
            </a:r>
          </a:p>
          <a:p>
            <a:r>
              <a:rPr lang="en-US" dirty="0"/>
              <a:t>JavaScript Basic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44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nded Audienc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Web application develop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93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9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S6 &amp; Typescrip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/>
              <a:t>Var, Let and Const keyword</a:t>
            </a:r>
          </a:p>
          <a:p>
            <a:pPr lvl="0"/>
            <a:r>
              <a:rPr lang="en-US"/>
              <a:t>Arrow functions, default arguments</a:t>
            </a:r>
          </a:p>
          <a:p>
            <a:pPr lvl="0"/>
            <a:r>
              <a:rPr lang="en-US"/>
              <a:t>Template Strings, String methods</a:t>
            </a:r>
          </a:p>
          <a:p>
            <a:pPr lvl="0"/>
            <a:r>
              <a:rPr lang="en-US"/>
              <a:t>Object Destructuring </a:t>
            </a:r>
          </a:p>
          <a:p>
            <a:pPr lvl="0"/>
            <a:r>
              <a:rPr lang="en-US"/>
              <a:t>Spread and Rest operator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IN"/>
              <a:t>Typescript Fundamentals </a:t>
            </a:r>
          </a:p>
          <a:p>
            <a:r>
              <a:rPr lang="en-IN"/>
              <a:t>Types &amp; type assertions</a:t>
            </a:r>
          </a:p>
          <a:p>
            <a:r>
              <a:rPr lang="en-IN"/>
              <a:t>Typescript OOPS - Classes, Interfaces, Constructor, etc</a:t>
            </a:r>
          </a:p>
          <a:p>
            <a:r>
              <a:rPr lang="en-IN"/>
              <a:t>Creating custom types</a:t>
            </a:r>
          </a:p>
          <a:p>
            <a:r>
              <a:rPr lang="en-IN"/>
              <a:t>Decorators 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7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rop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03814cf005c1043a69fcbf3e0b60b2c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1aa2d91e2c97cf3ea1917b84d2ae962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Level xmlns="26bed2a0-a239-4228-bd8e-b46f54fc12da">L1</Level>
    <Material_x0020_Type xmlns="26bed2a0-a239-4228-bd8e-b46f54fc12da">Class book</Material_x0020_Type>
    <Category xmlns="26bed2a0-a239-4228-bd8e-b46f54fc12da">Module Artifact</Category>
  </documentManagement>
</p:properties>
</file>

<file path=customXml/itemProps1.xml><?xml version="1.0" encoding="utf-8"?>
<ds:datastoreItem xmlns:ds="http://schemas.openxmlformats.org/officeDocument/2006/customXml" ds:itemID="{ED75D150-8DF4-4450-AE99-E8A8FD18BAB7}"/>
</file>

<file path=customXml/itemProps2.xml><?xml version="1.0" encoding="utf-8"?>
<ds:datastoreItem xmlns:ds="http://schemas.openxmlformats.org/officeDocument/2006/customXml" ds:itemID="{745631BE-2E73-4D3D-87D8-825DE461F3BF}"/>
</file>

<file path=customXml/itemProps3.xml><?xml version="1.0" encoding="utf-8"?>
<ds:datastoreItem xmlns:ds="http://schemas.openxmlformats.org/officeDocument/2006/customXml" ds:itemID="{592C55D8-C1B0-4381-B211-6D3E0295E099}"/>
</file>

<file path=docProps/app.xml><?xml version="1.0" encoding="utf-8"?>
<Properties xmlns="http://schemas.openxmlformats.org/officeDocument/2006/extended-properties" xmlns:vt="http://schemas.openxmlformats.org/officeDocument/2006/docPropsVTypes">
  <Template>TM10001105[[fn=Crop]]</Template>
  <TotalTime>2237</TotalTime>
  <Words>740</Words>
  <Application>Microsoft Office PowerPoint</Application>
  <PresentationFormat>Widescreen</PresentationFormat>
  <Paragraphs>156</Paragraphs>
  <Slides>22</Slides>
  <Notes>4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Calibri</vt:lpstr>
      <vt:lpstr>Franklin Gothic Book</vt:lpstr>
      <vt:lpstr>Tahoma</vt:lpstr>
      <vt:lpstr>Crop</vt:lpstr>
      <vt:lpstr>      Angular 6</vt:lpstr>
      <vt:lpstr>Document History</vt:lpstr>
      <vt:lpstr>Angular Framework…</vt:lpstr>
      <vt:lpstr>Why Angular?...</vt:lpstr>
      <vt:lpstr>What you will learn…</vt:lpstr>
      <vt:lpstr>Pre-requisites</vt:lpstr>
      <vt:lpstr>Intended Audience</vt:lpstr>
      <vt:lpstr>Angular 6 – Day 1</vt:lpstr>
      <vt:lpstr>ES6 &amp; Typescript</vt:lpstr>
      <vt:lpstr>Introduction to Angular Framework</vt:lpstr>
      <vt:lpstr>Angular 6 – Day 2</vt:lpstr>
      <vt:lpstr>Essentials of Angular</vt:lpstr>
      <vt:lpstr>Templates, Styles &amp; Directives</vt:lpstr>
      <vt:lpstr>Angular 6 – Day 3</vt:lpstr>
      <vt:lpstr>Pipes, Services &amp; Dependency Injection</vt:lpstr>
      <vt:lpstr>Template-Driven and Reactive Forms</vt:lpstr>
      <vt:lpstr>Angular 6 – Day 4</vt:lpstr>
      <vt:lpstr>Components Deep Dive / Routing</vt:lpstr>
      <vt:lpstr>Http Requests / Observables</vt:lpstr>
      <vt:lpstr>Angular 6 – Day 5</vt:lpstr>
      <vt:lpstr>Deployment / Authentication</vt:lpstr>
      <vt:lpstr>Referenc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Technologies</dc:title>
  <dc:creator>VISHAL</dc:creator>
  <cp:lastModifiedBy>Naik, Yogini</cp:lastModifiedBy>
  <cp:revision>264</cp:revision>
  <dcterms:created xsi:type="dcterms:W3CDTF">2017-07-28T13:43:20Z</dcterms:created>
  <dcterms:modified xsi:type="dcterms:W3CDTF">2019-03-13T03:2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